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C24430-D4B6-A2A0-876D-4BD4672C1A85}" v="175" dt="2022-08-03T03:16:32.1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4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i Kiran, Babbellapati Dutta" userId="S::babbellapati-dutta.sai-kiran@capgemini.com::94773bbc-e947-40dd-a68f-834c1c06f22e" providerId="AD" clId="Web-{D8C24430-D4B6-A2A0-876D-4BD4672C1A85}"/>
    <pc:docChg chg="modSld">
      <pc:chgData name="Sai Kiran, Babbellapati Dutta" userId="S::babbellapati-dutta.sai-kiran@capgemini.com::94773bbc-e947-40dd-a68f-834c1c06f22e" providerId="AD" clId="Web-{D8C24430-D4B6-A2A0-876D-4BD4672C1A85}" dt="2022-08-03T03:16:26.739" v="173" actId="20577"/>
      <pc:docMkLst>
        <pc:docMk/>
      </pc:docMkLst>
      <pc:sldChg chg="modSp">
        <pc:chgData name="Sai Kiran, Babbellapati Dutta" userId="S::babbellapati-dutta.sai-kiran@capgemini.com::94773bbc-e947-40dd-a68f-834c1c06f22e" providerId="AD" clId="Web-{D8C24430-D4B6-A2A0-876D-4BD4672C1A85}" dt="2022-08-03T03:16:26.739" v="173" actId="20577"/>
        <pc:sldMkLst>
          <pc:docMk/>
          <pc:sldMk cId="0" sldId="560"/>
        </pc:sldMkLst>
        <pc:spChg chg="mod">
          <ac:chgData name="Sai Kiran, Babbellapati Dutta" userId="S::babbellapati-dutta.sai-kiran@capgemini.com::94773bbc-e947-40dd-a68f-834c1c06f22e" providerId="AD" clId="Web-{D8C24430-D4B6-A2A0-876D-4BD4672C1A85}" dt="2022-08-03T03:16:17.020" v="164" actId="20577"/>
          <ac:spMkLst>
            <pc:docMk/>
            <pc:sldMk cId="0" sldId="560"/>
            <ac:spMk id="7170" creationId="{4EF0A5D5-CB77-4BCF-86BB-EC8AFA4AA0E3}"/>
          </ac:spMkLst>
        </pc:spChg>
        <pc:spChg chg="mod">
          <ac:chgData name="Sai Kiran, Babbellapati Dutta" userId="S::babbellapati-dutta.sai-kiran@capgemini.com::94773bbc-e947-40dd-a68f-834c1c06f22e" providerId="AD" clId="Web-{D8C24430-D4B6-A2A0-876D-4BD4672C1A85}" dt="2022-08-03T03:15:29.360" v="112" actId="20577"/>
          <ac:spMkLst>
            <pc:docMk/>
            <pc:sldMk cId="0" sldId="560"/>
            <ac:spMk id="7175" creationId="{BADEA8C0-D1A3-4608-9E63-683339DCC944}"/>
          </ac:spMkLst>
        </pc:spChg>
        <pc:spChg chg="mod">
          <ac:chgData name="Sai Kiran, Babbellapati Dutta" userId="S::babbellapati-dutta.sai-kiran@capgemini.com::94773bbc-e947-40dd-a68f-834c1c06f22e" providerId="AD" clId="Web-{D8C24430-D4B6-A2A0-876D-4BD4672C1A85}" dt="2022-08-03T03:16:26.739" v="173" actId="20577"/>
          <ac:spMkLst>
            <pc:docMk/>
            <pc:sldMk cId="0" sldId="560"/>
            <ac:spMk id="7176" creationId="{943087BE-AA11-4C96-BA02-329B45C19DDE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6/09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6/09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hyperlink" Target="https://github.com/duttasaikiran/Online-Railway-Reservation-Syste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26953" y="2995613"/>
            <a:ext cx="4057650" cy="3621087"/>
          </a:xfrm>
        </p:spPr>
        <p:txBody>
          <a:bodyPr vert="horz" lIns="0" tIns="0" rIns="0" bIns="0" rtlCol="0" anchor="t">
            <a:noAutofit/>
          </a:bodyPr>
          <a:lstStyle/>
          <a:p>
            <a:pPr eaLnBrk="1" hangingPunct="1">
              <a:lnSpc>
                <a:spcPct val="114000"/>
              </a:lnSpc>
            </a:pPr>
            <a:r>
              <a:rPr lang="en-US" altLang="en-US" b="1" dirty="0"/>
              <a:t>Online Railway reservation Application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dirty="0"/>
              <a:t>Completed end to end case study of Online railway reservation Application along with JWT authentication, API gateway, Swagger and implemented microservice architecture and eureka registry.</a:t>
            </a:r>
            <a:r>
              <a:rPr lang="en-US" altLang="en-US" dirty="0"/>
              <a:t> React is used for user interface.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b="1" dirty="0"/>
              <a:t>AWS Certified Cloud Practitione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dirty="0"/>
              <a:t>Certified in AWS cloud practitioner.</a:t>
            </a:r>
          </a:p>
          <a:p>
            <a:pPr>
              <a:lnSpc>
                <a:spcPct val="114000"/>
              </a:lnSpc>
            </a:pPr>
            <a:r>
              <a:rPr lang="en-IN" altLang="nl-NL" b="1" dirty="0"/>
              <a:t>Completed Java Full Stack training in ADAPT.</a:t>
            </a:r>
            <a:endParaRPr lang="en-IN" altLang="nl-NL" b="1" dirty="0">
              <a:ea typeface="Verdana"/>
            </a:endParaRPr>
          </a:p>
          <a:p>
            <a:pPr eaLnBrk="1" hangingPunct="1">
              <a:lnSpc>
                <a:spcPct val="114000"/>
              </a:lnSpc>
            </a:pPr>
            <a:r>
              <a:rPr lang="en-IN" altLang="en-US" dirty="0"/>
              <a:t>Completed Java Full Stack and received internship completion letter from Capgemini. Done case study using technology stack learnt in training.</a:t>
            </a: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76362"/>
            <a:ext cx="2374900" cy="198438"/>
          </a:xfrm>
        </p:spPr>
        <p:txBody>
          <a:bodyPr/>
          <a:lstStyle/>
          <a:p>
            <a:pPr eaLnBrk="1" hangingPunct="1"/>
            <a:r>
              <a:rPr lang="nl-NL" altLang="nl-NL" dirty="0"/>
              <a:t>Mumbai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51082" y="1611313"/>
            <a:ext cx="4622775" cy="322262"/>
          </a:xfrm>
        </p:spPr>
        <p:txBody>
          <a:bodyPr/>
          <a:lstStyle/>
          <a:p>
            <a:pPr eaLnBrk="1" hangingPunct="1"/>
            <a:r>
              <a:rPr lang="nl-NL" altLang="nl-NL" dirty="0"/>
              <a:t>BABBELLAPATI-DUTTA.SAI-KIRAN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48038" y="1836737"/>
            <a:ext cx="2382837" cy="263525"/>
          </a:xfrm>
        </p:spPr>
        <p:txBody>
          <a:bodyPr/>
          <a:lstStyle/>
          <a:p>
            <a:pPr eaLnBrk="1" hangingPunct="1"/>
            <a:r>
              <a:rPr lang="nl-NL" altLang="nl-NL" dirty="0"/>
              <a:t>+91 6305302905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2588" y="2995613"/>
            <a:ext cx="4057650" cy="3621087"/>
          </a:xfrm>
        </p:spPr>
        <p:txBody>
          <a:bodyPr vert="horz" lIns="0" tIns="0" rIns="0" bIns="0" rtlCol="0" anchor="t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>
                <a:ea typeface="Verdana"/>
              </a:rPr>
              <a:t>Has good hands-on in node JS, express JS and </a:t>
            </a:r>
            <a:r>
              <a:rPr lang="en-US" altLang="en-US" sz="1100">
                <a:ea typeface="Verdana"/>
              </a:rPr>
              <a:t>REST API, </a:t>
            </a:r>
            <a:r>
              <a:rPr lang="en-US" altLang="en-US" sz="1100" dirty="0">
                <a:ea typeface="Verdana"/>
              </a:rPr>
              <a:t>and serverless application building using AWS.</a:t>
            </a:r>
            <a:endParaRPr lang="en-US" alt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Has working knowledge on spring framework, microservices, API gateway, eureka server, ReactJS  on an intermediate level.</a:t>
            </a:r>
          </a:p>
          <a:p>
            <a:endParaRPr lang="en-US" altLang="en-US" sz="1100" dirty="0">
              <a:ea typeface="Verdana"/>
            </a:endParaRPr>
          </a:p>
          <a:p>
            <a:endParaRPr lang="en-US" altLang="nl-NL" sz="1100" dirty="0">
              <a:ea typeface="Verdana"/>
            </a:endParaRP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t"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Engineering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omputer Science : 2018 - 2022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Node 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Express 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Cor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Core java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dirty="0"/>
          </a:p>
          <a:p>
            <a:pPr eaLnBrk="1" hangingPunct="1">
              <a:lnSpc>
                <a:spcPct val="114000"/>
              </a:lnSpc>
            </a:pP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MER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React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Node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  <a:latin typeface="Verdana"/>
                <a:ea typeface="Verdana"/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err="1"/>
              <a:t>Javascript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 err="1">
                <a:solidFill>
                  <a:srgbClr val="0070AD"/>
                </a:solidFill>
              </a:rPr>
              <a:t>Add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err="1"/>
              <a:t>Github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88A863AC-00F4-4515-A946-F381545BD0F9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0574" y="145896"/>
            <a:ext cx="1446846" cy="1874994"/>
          </a:xfrm>
        </p:spPr>
      </p:pic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US" altLang="en-US" dirty="0"/>
              <a:t>B</a:t>
            </a:r>
            <a:r>
              <a:rPr lang="en-IN" altLang="en-US" dirty="0" err="1"/>
              <a:t>abbellapati</a:t>
            </a:r>
            <a:r>
              <a:rPr lang="en-IN" altLang="en-US" dirty="0"/>
              <a:t> Dutta Sai Kiran</a:t>
            </a:r>
          </a:p>
        </p:txBody>
      </p:sp>
      <p:pic>
        <p:nvPicPr>
          <p:cNvPr id="7179" name="Picture 7">
            <a:hlinkClick r:id="rId4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5441792" y="6236493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28507" y="6430963"/>
            <a:ext cx="34099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IN" altLang="en-US" sz="1100" dirty="0"/>
              <a:t>Check out my work on GitHub</a:t>
            </a:r>
          </a:p>
        </p:txBody>
      </p:sp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550" y="160813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>
                <a:solidFill>
                  <a:schemeClr val="bg1"/>
                </a:solidFill>
              </a:rPr>
              <a:t>A4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F2D984F0DC8B4F81A100EEA18D209A" ma:contentTypeVersion="10" ma:contentTypeDescription="Create a new document." ma:contentTypeScope="" ma:versionID="330ef8c2a5f9c45c7bcdf093f3dffd52">
  <xsd:schema xmlns:xsd="http://www.w3.org/2001/XMLSchema" xmlns:xs="http://www.w3.org/2001/XMLSchema" xmlns:p="http://schemas.microsoft.com/office/2006/metadata/properties" xmlns:ns2="e0ffb6ef-0000-48aa-9041-fb29fcb198e5" xmlns:ns3="900c2a09-0d28-449b-b8ad-3e76d664ec44" targetNamespace="http://schemas.microsoft.com/office/2006/metadata/properties" ma:root="true" ma:fieldsID="1a18246c7c040899e8786cff3bef9263" ns2:_="" ns3:_="">
    <xsd:import namespace="e0ffb6ef-0000-48aa-9041-fb29fcb198e5"/>
    <xsd:import namespace="900c2a09-0d28-449b-b8ad-3e76d664ec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ffb6ef-0000-48aa-9041-fb29fcb198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c2a09-0d28-449b-b8ad-3e76d664ec4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dfe5ddd-bb25-4adb-93a2-938a30b22837}" ma:internalName="TaxCatchAll" ma:showField="CatchAllData" ma:web="900c2a09-0d28-449b-b8ad-3e76d664ec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0ffb6ef-0000-48aa-9041-fb29fcb198e5">
      <Terms xmlns="http://schemas.microsoft.com/office/infopath/2007/PartnerControls"/>
    </lcf76f155ced4ddcb4097134ff3c332f>
    <TaxCatchAll xmlns="900c2a09-0d28-449b-b8ad-3e76d664ec44" xsi:nil="true"/>
  </documentManagement>
</p:properties>
</file>

<file path=customXml/itemProps1.xml><?xml version="1.0" encoding="utf-8"?>
<ds:datastoreItem xmlns:ds="http://schemas.openxmlformats.org/officeDocument/2006/customXml" ds:itemID="{63E93271-2B1E-47B2-8E11-DBB90B1569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0ffb6ef-0000-48aa-9041-fb29fcb198e5"/>
    <ds:schemaRef ds:uri="900c2a09-0d28-449b-b8ad-3e76d664ec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  <ds:schemaRef ds:uri="e0ffb6ef-0000-48aa-9041-fb29fcb198e5"/>
    <ds:schemaRef ds:uri="900c2a09-0d28-449b-b8ad-3e76d664ec4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39</TotalTime>
  <Words>260</Words>
  <Application>Microsoft Office PowerPoint</Application>
  <PresentationFormat>Widescreen</PresentationFormat>
  <Paragraphs>7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Sai Kiran, Babbellapati Dutta</cp:lastModifiedBy>
  <cp:revision>133</cp:revision>
  <dcterms:created xsi:type="dcterms:W3CDTF">2017-12-08T05:27:40Z</dcterms:created>
  <dcterms:modified xsi:type="dcterms:W3CDTF">2022-09-16T11:1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F2D984F0DC8B4F81A100EEA18D209A</vt:lpwstr>
  </property>
  <property fmtid="{D5CDD505-2E9C-101B-9397-08002B2CF9AE}" pid="3" name="MediaServiceImageTags">
    <vt:lpwstr/>
  </property>
</Properties>
</file>